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0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18288000" cy="10287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Raleway" pitchFamily="2" charset="0"/>
      <p:regular r:id="rId15"/>
      <p:bold r:id="rId16"/>
      <p:italic r:id="rId17"/>
      <p:boldItalic r:id="rId18"/>
    </p:embeddedFont>
    <p:embeddedFont>
      <p:font typeface="Roboto Light" panose="02000000000000000000" pitchFamily="2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50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54" d="100"/>
          <a:sy n="54" d="100"/>
        </p:scale>
        <p:origin x="869" y="72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turned-on-macbook-air-on-desk-iOykDIkZLQw?utm_source=smart%20slides&amp;utm_medium=referral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goran_ivos?utm_source=smart%20slides&amp;utm_medium=referra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tilt-shift-photography-of-html-codes-8OyKWQgBsKQ?utm_source=smart%20slides&amp;utm_medium=referral" TargetMode="Externa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markusspiske?utm_source=smart%20slides&amp;utm_medium=referra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matrix-movie-still-iar-afB0QQw?utm_source=smart%20slides&amp;utm_medium=referral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markusspiske?utm_source=smart%20slides&amp;utm_medium=referra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a-heart-is-shown-on-a-computer-screen-KgLtFCgfC28?utm_source=smart%20slides&amp;utm_medium=referral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swimstaralex?utm_source=smart%20slides&amp;utm_medium=referra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closeup-photo-of-eyeglasses-w7ZyuGYNpRQ?utm_source=smart%20slides&amp;utm_medium=referral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ikukevk?utm_source=smart%20slides&amp;utm_medium=referra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a-computer-screen-with-a-bunch-of-code-on-it-ieic5Tq8YMk?utm_source=smart%20slides&amp;utm_medium=referral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unsplash.com/?utm_source=smart%20slides&amp;utm_medium=referral" TargetMode="External"/><Relationship Id="rId4" Type="http://schemas.openxmlformats.org/officeDocument/2006/relationships/hyperlink" Target="https://unsplash.com/@cdr6934?utm_source=smart%20slides&amp;utm_medium=referral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 flipH="1">
            <a:off x="17687924" y="8601075"/>
            <a:ext cx="129342" cy="12934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3451" y="3957637"/>
            <a:ext cx="15321098" cy="4100513"/>
          </a:xfrm>
          <a:noFill/>
          <a:ln>
            <a:noFill/>
          </a:ln>
        </p:spPr>
        <p:txBody>
          <a:bodyPr>
            <a:normAutofit/>
          </a:bodyPr>
          <a:lstStyle/>
          <a:p>
            <a:r>
              <a:rPr lang="en-US" dirty="0">
                <a:solidFill>
                  <a:srgbClr val="8500EA"/>
                </a:solidFill>
                <a:ea typeface="Open Sans" panose="020B0606030504020204" pitchFamily="34" charset="0"/>
              </a:rPr>
              <a:t>Machine Learning overview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www.aiasaanhai.com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35FD9E19-BF25-A74D-E13E-5216F4DB4A4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>
            <a:fillRect/>
          </a:stretch>
        </p:blipFill>
        <p:spPr>
          <a:xfrm>
            <a:off x="7115175" y="401273"/>
            <a:ext cx="4057650" cy="3735566"/>
          </a:xfrm>
        </p:spPr>
      </p:pic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OykDIkZLQw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4486" r="14486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Definition: Machine learning is a subset of artificial intelligence (AI) that provides systems the ability to automatically learn and improve from experience without being explicitly programmed.</a:t>
            </a:r>
          </a:p>
          <a:p>
            <a:pPr>
              <a:defRPr sz="3600">
                <a:latin typeface="Calibri"/>
              </a:defRPr>
            </a:pPr>
            <a:r>
              <a:t>Focus: Development of computer programs that can access data and use it to learn for themselv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Introduction to Machine Learn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turned on MacBook Air on desk</a:t>
            </a:r>
          </a:p>
          <a:p>
            <a:r>
              <a:rPr>
                <a:hlinkClick r:id="rId4"/>
              </a:rPr>
              <a:t>Photo by Goran Ivos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8OyKWQgBsKQ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anation: Involves training a model on a labeled dataset to predict outputs from input data.</a:t>
            </a:r>
          </a:p>
          <a:p>
            <a:pPr>
              <a:defRPr sz="3600">
                <a:latin typeface="Calibri"/>
              </a:defRPr>
            </a:pPr>
            <a:r>
              <a:t>Python Example: Linear Regression code snippe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Supervised Learn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tilt-shift photography of HTML codes</a:t>
            </a:r>
          </a:p>
          <a:p>
            <a:r>
              <a:rPr>
                <a:hlinkClick r:id="rId4"/>
              </a:rPr>
              <a:t>Photo by Markus Spiske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ar-afB0QQw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anation: Involves training a model on data that is not labeled, allowing the model to discover patterns.</a:t>
            </a:r>
          </a:p>
          <a:p>
            <a:pPr>
              <a:defRPr sz="3600">
                <a:latin typeface="Calibri"/>
              </a:defRPr>
            </a:pPr>
            <a:r>
              <a:t>Python Example: K-Means Clustering code snippe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Unsupervised Learn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Matrix movie still</a:t>
            </a:r>
          </a:p>
          <a:p>
            <a:r>
              <a:rPr>
                <a:hlinkClick r:id="rId4"/>
              </a:rPr>
              <a:t>Photo by Markus Spiske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KgLtFCgfC28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29" r="2032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Basic Concepts: Algorithms modeled loosely after the human brain, designed to recognize patterns.</a:t>
            </a:r>
          </a:p>
          <a:p>
            <a:pPr>
              <a:defRPr sz="3600">
                <a:latin typeface="Calibri"/>
              </a:defRPr>
            </a:pPr>
            <a:r>
              <a:t>Python Example: Simple Neural Network with TensorFlow code snippe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Neural Networks and Deep Learn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a heart is shown on a computer screen</a:t>
            </a:r>
          </a:p>
          <a:p>
            <a:r>
              <a:rPr>
                <a:hlinkClick r:id="rId4"/>
              </a:rPr>
              <a:t>Photo by Alexander Sinn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w7ZyuGYNpRQ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6667" r="16667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anation: Overfitting is learning too much detail and noise, underfitting is failing to capture underlying trends.</a:t>
            </a:r>
          </a:p>
          <a:p>
            <a:pPr>
              <a:defRPr sz="3600">
                <a:latin typeface="Calibri"/>
              </a:defRPr>
            </a:pPr>
            <a:r>
              <a:t>Python Example: Regularization Techniques code snippe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Overfitting and Underfitt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closeup photo of eyeglasses</a:t>
            </a:r>
          </a:p>
          <a:p>
            <a:r>
              <a:rPr>
                <a:hlinkClick r:id="rId4"/>
              </a:rPr>
              <a:t>Photo by Kevin Ku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eic5Tq8YMk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29" r="2032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Explanation: Using metrics to understand a model's performance and testing it on a separate dataset.</a:t>
            </a:r>
          </a:p>
          <a:p>
            <a:pPr>
              <a:defRPr sz="3600">
                <a:latin typeface="Calibri"/>
              </a:defRPr>
            </a:pPr>
            <a:r>
              <a:t>Python Example: Using scikit-learn for Model Evaluation code snippe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4A86E8"/>
                </a:solidFill>
                <a:latin typeface="Calibri"/>
              </a:defRPr>
            </a:pPr>
            <a:r>
              <a:t>Model Evaluation and Valid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>
                <a:hlinkClick r:id="rId3"/>
              </a:rPr>
              <a:t>Photo: a computer screen with a bunch of code on it</a:t>
            </a:r>
          </a:p>
          <a:p>
            <a:r>
              <a:rPr>
                <a:hlinkClick r:id="rId4"/>
              </a:rPr>
              <a:t>Photo by Chris Ried</a:t>
            </a:r>
          </a:p>
          <a:p>
            <a:r>
              <a:rPr>
                <a:hlinkClick r:id="rId5"/>
              </a:rPr>
              <a:t>Powered by Unsplash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4A86E8"/>
          </a:solidFill>
        </p:spPr>
        <p:txBody>
          <a:bodyPr/>
          <a:lstStyle/>
          <a:p>
            <a:endParaRPr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409797-CDD9-149B-9A3F-0ACC6B0FEE90}"/>
              </a:ext>
            </a:extLst>
          </p:cNvPr>
          <p:cNvSpPr/>
          <p:nvPr/>
        </p:nvSpPr>
        <p:spPr>
          <a:xfrm>
            <a:off x="1271588" y="3529012"/>
            <a:ext cx="15287625" cy="15696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9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hanks.</a:t>
            </a:r>
            <a:endParaRPr lang="en-US" sz="9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5</TotalTime>
  <Words>303</Words>
  <Application>Microsoft Office PowerPoint</Application>
  <PresentationFormat>Custom</PresentationFormat>
  <Paragraphs>3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Raleway</vt:lpstr>
      <vt:lpstr>Calibri</vt:lpstr>
      <vt:lpstr>Arial</vt:lpstr>
      <vt:lpstr>Roboto Light</vt:lpstr>
      <vt:lpstr>Smart Slides v1</vt:lpstr>
      <vt:lpstr>think-cell Slide</vt:lpstr>
      <vt:lpstr>Machine Learning overview</vt:lpstr>
      <vt:lpstr>Introduction to Machine Learning</vt:lpstr>
      <vt:lpstr>Supervised Learning</vt:lpstr>
      <vt:lpstr>Unsupervised Learning</vt:lpstr>
      <vt:lpstr>Neural Networks and Deep Learning</vt:lpstr>
      <vt:lpstr>Overfitting and Underfitting</vt:lpstr>
      <vt:lpstr>Model Evaluation and Valid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Deepak Rai</cp:lastModifiedBy>
  <cp:revision>64</cp:revision>
  <dcterms:modified xsi:type="dcterms:W3CDTF">2023-12-25T15:13:18Z</dcterms:modified>
</cp:coreProperties>
</file>